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6"/>
  </p:notesMasterIdLst>
  <p:handoutMasterIdLst>
    <p:handoutMasterId r:id="rId7"/>
  </p:handoutMasterIdLst>
  <p:sldIdLst>
    <p:sldId id="256" r:id="rId3"/>
    <p:sldId id="257" r:id="rId4"/>
    <p:sldId id="258" r:id="rId5"/>
  </p:sldIdLst>
  <p:sldSz cx="12192000" cy="6858000"/>
  <p:notesSz cx="7102475" cy="938847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21" autoAdjust="0"/>
  </p:normalViewPr>
  <p:slideViewPr>
    <p:cSldViewPr snapToGrid="0" snapToObjects="1">
      <p:cViewPr varScale="1">
        <p:scale>
          <a:sx n="73" d="100"/>
          <a:sy n="73" d="100"/>
        </p:scale>
        <p:origin x="804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9 November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9 November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4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6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6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0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140450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49315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2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271.xml"/><Relationship Id="rId7" Type="http://schemas.openxmlformats.org/officeDocument/2006/relationships/tags" Target="../tags/tag275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74.xml"/><Relationship Id="rId5" Type="http://schemas.openxmlformats.org/officeDocument/2006/relationships/tags" Target="../tags/tag273.xml"/><Relationship Id="rId10" Type="http://schemas.openxmlformats.org/officeDocument/2006/relationships/image" Target="../media/image4.emf"/><Relationship Id="rId4" Type="http://schemas.openxmlformats.org/officeDocument/2006/relationships/tags" Target="../tags/tag272.xml"/><Relationship Id="rId9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png"/><Relationship Id="rId2" Type="http://schemas.openxmlformats.org/officeDocument/2006/relationships/tags" Target="../tags/tag276.xml"/><Relationship Id="rId1" Type="http://schemas.openxmlformats.org/officeDocument/2006/relationships/vmlDrawing" Target="../drawings/vmlDrawing19.vml"/><Relationship Id="rId6" Type="http://schemas.openxmlformats.org/officeDocument/2006/relationships/hyperlink" Target="http://www.freesshd.com/?ctt=download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png"/><Relationship Id="rId2" Type="http://schemas.openxmlformats.org/officeDocument/2006/relationships/tags" Target="../tags/tag27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7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5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SSH-SFTP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1ADFD0-5DE7-408B-AE28-549AD20C50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038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3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AC3C54A-B174-4B00-9ADF-CB6125F1B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reeSSH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F8EEEB-949B-4C27-98E0-15B0FEA1A4A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3069B7-7F33-4DD7-9C67-38B6B1FAAA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C9B181-8CED-4B4B-AD38-7C1F8F7B3441}"/>
              </a:ext>
            </a:extLst>
          </p:cNvPr>
          <p:cNvSpPr/>
          <p:nvPr/>
        </p:nvSpPr>
        <p:spPr>
          <a:xfrm>
            <a:off x="3661954" y="1652376"/>
            <a:ext cx="7975309" cy="19652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ownload </a:t>
            </a:r>
            <a:r>
              <a:rPr lang="en-US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ứng</a:t>
            </a:r>
            <a:r>
              <a:rPr lang="en-U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ụng</a:t>
            </a:r>
            <a:r>
              <a:rPr lang="en-U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reeSSH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457200">
              <a:lnSpc>
                <a:spcPct val="107000"/>
              </a:lnSpc>
              <a:spcAft>
                <a:spcPts val="0"/>
              </a:spcAft>
            </a:pPr>
            <a:r>
              <a:rPr lang="en-US" u="sng" dirty="0">
                <a:solidFill>
                  <a:srgbClr val="0563C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http://www.freesshd.com/?ctt=download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"/>
            </a:pPr>
            <a:r>
              <a:rPr lang="en-U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py </a:t>
            </a:r>
            <a:r>
              <a:rPr lang="en-US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ào</a:t>
            </a:r>
            <a:r>
              <a:rPr lang="en-U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áy</a:t>
            </a:r>
            <a:r>
              <a:rPr lang="en-U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ủ</a:t>
            </a:r>
            <a:r>
              <a:rPr lang="en-U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DC </a:t>
            </a:r>
            <a:r>
              <a:rPr lang="en-US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à</a:t>
            </a:r>
            <a:r>
              <a:rPr lang="en-U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ài</a:t>
            </a:r>
            <a:r>
              <a:rPr lang="en-U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A service named “</a:t>
            </a:r>
            <a:r>
              <a:rPr lang="en-US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reeSSHDService</a:t>
            </a:r>
            <a:r>
              <a:rPr lang="en-U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” is created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"/>
            </a:pPr>
            <a:r>
              <a:rPr lang="en-US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tart </a:t>
            </a:r>
            <a:r>
              <a:rPr lang="en-US" sz="1600" dirty="0" err="1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reeSSH</a:t>
            </a:r>
            <a:r>
              <a:rPr lang="en-US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16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"/>
            </a:pPr>
            <a:r>
              <a:rPr lang="en-US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dd users and configure access level on </a:t>
            </a:r>
            <a:r>
              <a:rPr lang="en-US" sz="16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reeSSH</a:t>
            </a:r>
            <a:r>
              <a:rPr lang="en-US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settings. Restart the </a:t>
            </a:r>
            <a:r>
              <a:rPr lang="en-US" sz="1600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reeSSHDService</a:t>
            </a:r>
            <a:r>
              <a:rPr lang="en-US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br>
              <a:rPr lang="en-US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E64DBE-861F-49C6-953B-C6A115057AD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0259" y="3582559"/>
            <a:ext cx="2858697" cy="278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93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D200503-2169-4139-BDCB-C4DDD679EB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6161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7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2873E7B4-90E9-4CDE-9F18-943C3C6E34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24096" y="1569284"/>
            <a:ext cx="3699763" cy="25212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95DB9AD-8CB8-4CF9-93EB-AF52433B9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FTP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40B916-B487-4E88-9407-7E1BFCD719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4A26C2-D9A8-46AA-9332-4438283F5C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6113F1-8A04-4FD0-8235-E6517BC65B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25259" y="2224087"/>
            <a:ext cx="2514600" cy="240982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6C91C72-8973-430B-9F81-D842A558D0F5}"/>
              </a:ext>
            </a:extLst>
          </p:cNvPr>
          <p:cNvSpPr txBox="1"/>
          <p:nvPr/>
        </p:nvSpPr>
        <p:spPr>
          <a:xfrm>
            <a:off x="3991148" y="1829969"/>
            <a:ext cx="2704011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dirty="0"/>
              <a:t>Specify the home folder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77F6D9-B5E7-443C-90E8-4B037A811744}"/>
              </a:ext>
            </a:extLst>
          </p:cNvPr>
          <p:cNvSpPr txBox="1"/>
          <p:nvPr/>
        </p:nvSpPr>
        <p:spPr>
          <a:xfrm>
            <a:off x="8328016" y="1309687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dirty="0"/>
              <a:t>Install WinSCP on a client PC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9A61B7-FD58-4000-8125-BE7D4B94FB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17806" y="4213642"/>
            <a:ext cx="3706995" cy="252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497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08-06 08:53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6592001C-CD0C-492B-A46D-8B4EF9FAD56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</TotalTime>
  <Words>64</Words>
  <Application>Microsoft Office PowerPoint</Application>
  <PresentationFormat>Widescreen</PresentationFormat>
  <Paragraphs>1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Georgia</vt:lpstr>
      <vt:lpstr>Segoe UI</vt:lpstr>
      <vt:lpstr>Times New Roman</vt:lpstr>
      <vt:lpstr>Wingdings</vt:lpstr>
      <vt:lpstr>White</vt:lpstr>
      <vt:lpstr>Contrast</vt:lpstr>
      <vt:lpstr>think-cell Slide</vt:lpstr>
      <vt:lpstr>SSH-SFTP</vt:lpstr>
      <vt:lpstr>FreeSSH</vt:lpstr>
      <vt:lpstr>SFT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SH-SFTP</dc:title>
  <dc:subject/>
  <dc:creator>Lam Nguyen</dc:creator>
  <cp:keywords/>
  <dc:description/>
  <cp:lastModifiedBy>Lam Nguyen</cp:lastModifiedBy>
  <cp:revision>6</cp:revision>
  <cp:lastPrinted>2018-10-30T20:37:12Z</cp:lastPrinted>
  <dcterms:created xsi:type="dcterms:W3CDTF">2020-11-19T10:34:30Z</dcterms:created>
  <dcterms:modified xsi:type="dcterms:W3CDTF">2020-11-19T10:46:5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8-06 08:53 PM</vt:lpwstr>
  </property>
  <property fmtid="{D5CDD505-2E9C-101B-9397-08002B2CF9AE}" pid="8" name="TemplateCreated">
    <vt:lpwstr>2019-02-27 01:18 PM</vt:lpwstr>
  </property>
</Properties>
</file>